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revisionInfo.xml" ContentType="application/vnd.ms-powerpoint.revisioninfo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3"/>
  </p:sldMasterIdLst>
  <p:sldIdLst>
    <p:sldId id="269" r:id="rId4"/>
  </p:sldIdLst>
  <p:sldSz cx="6858000" cy="9906000" type="A4"/>
  <p:notesSz cx="6858000" cy="9144000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ne Glassow" initials="TG" lastIdx="4" clrIdx="0">
    <p:extLst>
      <p:ext uri="{19B8F6BF-5375-455C-9EA6-DF929625EA0E}">
        <p15:presenceInfo xmlns:p15="http://schemas.microsoft.com/office/powerpoint/2012/main" userId="S::trgg@ramboll.com::b23622bd-c38a-4995-bcae-3b26cb39e1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CF41"/>
    <a:srgbClr val="FFF0BE"/>
    <a:srgbClr val="454547"/>
    <a:srgbClr val="006EB6"/>
    <a:srgbClr val="97D5FF"/>
    <a:srgbClr val="2FABFF"/>
    <a:srgbClr val="E09780"/>
    <a:srgbClr val="ECC0B2"/>
    <a:srgbClr val="EE833A"/>
    <a:srgbClr val="FBBA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BAC201-7F27-494F-9484-5D4EE898FB52}" v="1" dt="2023-03-28T07:32:54.97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1" d="100"/>
          <a:sy n="51" d="100"/>
        </p:scale>
        <p:origin x="213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Master" Target="slideMasters/slideMaster1.xml"/><Relationship Id="rId7" Type="http://schemas.openxmlformats.org/officeDocument/2006/relationships/presProps" Target="presProps.xml"/><Relationship Id="rId12" Type="http://schemas.openxmlformats.org/officeDocument/2006/relationships/customXml" Target="../customXml/item3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329673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2931243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697543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67201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058648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05361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8267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533417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9703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339187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5775557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2647591-2ED2-4B4B-B655-9586F5BE14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27823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408" imgH="408" progId="TCLayout.ActiveDocument.1">
                  <p:embed/>
                </p:oleObj>
              </mc:Choice>
              <mc:Fallback>
                <p:oleObj name="think-cell Slide" r:id="rId15" imgW="408" imgH="40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2647591-2ED2-4B4B-B655-9586F5BE14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B9D963-CDAE-4CE7-82AE-7E65B51ADC98}" type="datetimeFigureOut">
              <a:rPr lang="da-DK" smtClean="0"/>
              <a:t>28-03-2023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C6B650-9FE8-4894-BE24-1C4BDEB480D1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6514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sv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8E2C957-3A73-4C4B-928B-1F08579AEBE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068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408" imgH="408" progId="TCLayout.ActiveDocument.1">
                  <p:embed/>
                </p:oleObj>
              </mc:Choice>
              <mc:Fallback>
                <p:oleObj name="think-cell Slide" r:id="rId4" imgW="408" imgH="40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8E2C957-3A73-4C4B-928B-1F08579AEB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27A055BE-1883-4B3F-B6E6-3720A9A3D754}"/>
              </a:ext>
            </a:extLst>
          </p:cNvPr>
          <p:cNvSpPr/>
          <p:nvPr/>
        </p:nvSpPr>
        <p:spPr>
          <a:xfrm>
            <a:off x="0" y="0"/>
            <a:ext cx="6858000" cy="1914702"/>
          </a:xfrm>
          <a:prstGeom prst="rect">
            <a:avLst/>
          </a:prstGeom>
          <a:solidFill>
            <a:srgbClr val="FDCF41"/>
          </a:solidFill>
          <a:ln>
            <a:solidFill>
              <a:srgbClr val="FDCF4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latin typeface="Corbel" panose="020B0503020204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F8EB549-1059-495C-A35A-DF6DB20E11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752" y="0"/>
            <a:ext cx="5915025" cy="1914702"/>
          </a:xfrm>
        </p:spPr>
        <p:txBody>
          <a:bodyPr vert="horz"/>
          <a:lstStyle/>
          <a:p>
            <a:r>
              <a:rPr lang="da-DK" sz="40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Case-fortælling</a:t>
            </a:r>
            <a:endParaRPr lang="da-DK" sz="2200" b="1" dirty="0">
              <a:solidFill>
                <a:schemeClr val="tx1">
                  <a:lumMod val="85000"/>
                  <a:lumOff val="15000"/>
                </a:schemeClr>
              </a:solidFill>
              <a:latin typeface="Corbel" panose="020B0503020204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9D70ADAD-6518-467A-8AC3-12ED3DD1CF62}"/>
              </a:ext>
            </a:extLst>
          </p:cNvPr>
          <p:cNvSpPr txBox="1">
            <a:spLocks/>
          </p:cNvSpPr>
          <p:nvPr/>
        </p:nvSpPr>
        <p:spPr>
          <a:xfrm>
            <a:off x="4986874" y="2237184"/>
            <a:ext cx="1488776" cy="149308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 anchor="ctr">
            <a:no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a-DK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</a:rPr>
              <a:t>Ikon</a:t>
            </a:r>
          </a:p>
        </p:txBody>
      </p:sp>
      <p:sp>
        <p:nvSpPr>
          <p:cNvPr id="33" name="Content Placeholder 4">
            <a:extLst>
              <a:ext uri="{FF2B5EF4-FFF2-40B4-BE49-F238E27FC236}">
                <a16:creationId xmlns:a16="http://schemas.microsoft.com/office/drawing/2014/main" id="{0E3F3059-F10C-4008-B446-90EB40C280E8}"/>
              </a:ext>
            </a:extLst>
          </p:cNvPr>
          <p:cNvSpPr txBox="1">
            <a:spLocks/>
          </p:cNvSpPr>
          <p:nvPr/>
        </p:nvSpPr>
        <p:spPr>
          <a:xfrm>
            <a:off x="352433" y="4872819"/>
            <a:ext cx="6100215" cy="646332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indhold</a:t>
            </a:r>
          </a:p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. 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69CC9456-8D0E-4E64-9D7B-DBBD5C82524C}"/>
              </a:ext>
            </a:extLst>
          </p:cNvPr>
          <p:cNvSpPr txBox="1">
            <a:spLocks/>
          </p:cNvSpPr>
          <p:nvPr/>
        </p:nvSpPr>
        <p:spPr>
          <a:xfrm>
            <a:off x="650450" y="2221090"/>
            <a:ext cx="4128940" cy="1453825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Kort beskrivelse af casen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ED599802-227D-4474-8A3B-2EAE8C92D2C9}"/>
              </a:ext>
            </a:extLst>
          </p:cNvPr>
          <p:cNvSpPr/>
          <p:nvPr/>
        </p:nvSpPr>
        <p:spPr>
          <a:xfrm>
            <a:off x="0" y="4479933"/>
            <a:ext cx="112056" cy="140363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Corbel" panose="020B0503020204020204" pitchFamily="34" charset="0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4F49B29-6F29-41BC-85B9-BAD914D16BC6}"/>
              </a:ext>
            </a:extLst>
          </p:cNvPr>
          <p:cNvSpPr/>
          <p:nvPr/>
        </p:nvSpPr>
        <p:spPr>
          <a:xfrm>
            <a:off x="-7010" y="6236152"/>
            <a:ext cx="112056" cy="1329072"/>
          </a:xfrm>
          <a:prstGeom prst="rect">
            <a:avLst/>
          </a:prstGeom>
          <a:solidFill>
            <a:srgbClr val="FDCF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Corbel" panose="020B0503020204020204" pitchFamily="34" charset="0"/>
            </a:endParaRPr>
          </a:p>
        </p:txBody>
      </p:sp>
      <p:sp>
        <p:nvSpPr>
          <p:cNvPr id="58" name="Content Placeholder 4">
            <a:extLst>
              <a:ext uri="{FF2B5EF4-FFF2-40B4-BE49-F238E27FC236}">
                <a16:creationId xmlns:a16="http://schemas.microsoft.com/office/drawing/2014/main" id="{82CF6DFD-D426-4177-A7A6-F5B2658C7A7A}"/>
              </a:ext>
            </a:extLst>
          </p:cNvPr>
          <p:cNvSpPr txBox="1">
            <a:spLocks/>
          </p:cNvSpPr>
          <p:nvPr/>
        </p:nvSpPr>
        <p:spPr>
          <a:xfrm>
            <a:off x="367448" y="6730721"/>
            <a:ext cx="6047300" cy="646332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indhold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72D192D8-2DD0-4E93-AD00-949C8046ADCB}"/>
              </a:ext>
            </a:extLst>
          </p:cNvPr>
          <p:cNvSpPr/>
          <p:nvPr/>
        </p:nvSpPr>
        <p:spPr>
          <a:xfrm>
            <a:off x="-7010" y="7936199"/>
            <a:ext cx="112056" cy="1484026"/>
          </a:xfrm>
          <a:prstGeom prst="rect">
            <a:avLst/>
          </a:prstGeom>
          <a:solidFill>
            <a:srgbClr val="FFF0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Corbel" panose="020B0503020204020204" pitchFamily="34" charset="0"/>
            </a:endParaRPr>
          </a:p>
        </p:txBody>
      </p:sp>
      <p:sp>
        <p:nvSpPr>
          <p:cNvPr id="62" name="Content Placeholder 4">
            <a:extLst>
              <a:ext uri="{FF2B5EF4-FFF2-40B4-BE49-F238E27FC236}">
                <a16:creationId xmlns:a16="http://schemas.microsoft.com/office/drawing/2014/main" id="{807094CD-9A39-41CF-AE3B-8FFBDAD9EAAA}"/>
              </a:ext>
            </a:extLst>
          </p:cNvPr>
          <p:cNvSpPr txBox="1">
            <a:spLocks/>
          </p:cNvSpPr>
          <p:nvPr/>
        </p:nvSpPr>
        <p:spPr>
          <a:xfrm>
            <a:off x="428350" y="8414931"/>
            <a:ext cx="6047300" cy="850339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Beskrivelse af indhold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47FF54D-56B9-432D-B003-FE79F6B2984E}"/>
              </a:ext>
            </a:extLst>
          </p:cNvPr>
          <p:cNvSpPr txBox="1"/>
          <p:nvPr/>
        </p:nvSpPr>
        <p:spPr>
          <a:xfrm>
            <a:off x="321013" y="4052750"/>
            <a:ext cx="6184553" cy="5040187"/>
          </a:xfrm>
          <a:prstGeom prst="rect">
            <a:avLst/>
          </a:prstGeom>
          <a:solidFill>
            <a:srgbClr val="FFF0BE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sp>
        <p:nvSpPr>
          <p:cNvPr id="13" name="Speech Bubble: Oval 12">
            <a:extLst>
              <a:ext uri="{FF2B5EF4-FFF2-40B4-BE49-F238E27FC236}">
                <a16:creationId xmlns:a16="http://schemas.microsoft.com/office/drawing/2014/main" id="{32EA1262-755F-4B1A-96EC-1FAB6EBFDE26}"/>
              </a:ext>
            </a:extLst>
          </p:cNvPr>
          <p:cNvSpPr/>
          <p:nvPr/>
        </p:nvSpPr>
        <p:spPr>
          <a:xfrm>
            <a:off x="3925357" y="4306737"/>
            <a:ext cx="2328420" cy="1292525"/>
          </a:xfrm>
          <a:prstGeom prst="wedgeEllipseCallout">
            <a:avLst/>
          </a:prstGeom>
          <a:solidFill>
            <a:srgbClr val="454547"/>
          </a:solidFill>
          <a:ln>
            <a:solidFill>
              <a:srgbClr val="4545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C1A2C8C8-B05F-4F61-A369-B107B47FB502}"/>
              </a:ext>
            </a:extLst>
          </p:cNvPr>
          <p:cNvSpPr txBox="1">
            <a:spLocks/>
          </p:cNvSpPr>
          <p:nvPr/>
        </p:nvSpPr>
        <p:spPr>
          <a:xfrm>
            <a:off x="650450" y="5331915"/>
            <a:ext cx="5505253" cy="3083016"/>
          </a:xfrm>
          <a:prstGeom prst="rect">
            <a:avLst/>
          </a:prstGeom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16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Corbel" panose="020B0503020204020204" pitchFamily="34" charset="0"/>
                <a:cs typeface="Arial" panose="020B0604020202020204" pitchFamily="34" charset="0"/>
              </a:rPr>
              <a:t>Indhold 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245355AA-5E11-40D1-AA2D-2E774824CC7D}"/>
              </a:ext>
            </a:extLst>
          </p:cNvPr>
          <p:cNvSpPr txBox="1">
            <a:spLocks/>
          </p:cNvSpPr>
          <p:nvPr/>
        </p:nvSpPr>
        <p:spPr>
          <a:xfrm>
            <a:off x="4569217" y="4540839"/>
            <a:ext cx="4439117" cy="2610449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numCol="1" spcCol="54000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>
              <a:lnSpc>
                <a:spcPct val="110000"/>
              </a:lnSpc>
              <a:buNone/>
            </a:pPr>
            <a:r>
              <a:rPr lang="da-DK" sz="3200" b="1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”</a:t>
            </a:r>
            <a:r>
              <a:rPr lang="da-DK" sz="2800" b="1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…</a:t>
            </a:r>
            <a:r>
              <a:rPr lang="da-DK" sz="3200" b="1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 </a:t>
            </a:r>
            <a:r>
              <a:rPr lang="da-DK" sz="2400" b="1" dirty="0">
                <a:solidFill>
                  <a:schemeClr val="bg1"/>
                </a:solidFill>
                <a:latin typeface="Corbel" panose="020B0503020204020204" pitchFamily="34" charset="0"/>
                <a:cs typeface="Arial" panose="020B0604020202020204" pitchFamily="34" charset="0"/>
              </a:rPr>
              <a:t>,,</a:t>
            </a:r>
            <a:endParaRPr lang="da-DK" sz="3200" b="1" dirty="0">
              <a:solidFill>
                <a:schemeClr val="bg1"/>
              </a:solidFill>
              <a:latin typeface="Corbel" panose="020B0503020204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Graphic 14" descr="Female Profile with solid fill">
            <a:extLst>
              <a:ext uri="{FF2B5EF4-FFF2-40B4-BE49-F238E27FC236}">
                <a16:creationId xmlns:a16="http://schemas.microsoft.com/office/drawing/2014/main" id="{99DEF62F-2784-4683-92AA-D0C83DE31C7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11292" y="4219069"/>
            <a:ext cx="914400" cy="914400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CD412EE8-CF65-4355-AB5D-4547179C00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76049" y="9265271"/>
            <a:ext cx="1276600" cy="358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897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9A27C8BC4FF814B80B4CE83598355D9" ma:contentTypeVersion="12" ma:contentTypeDescription="Opret et nyt dokument." ma:contentTypeScope="" ma:versionID="76ba080317c69a536f2c251aa213a93a">
  <xsd:schema xmlns:xsd="http://www.w3.org/2001/XMLSchema" xmlns:xs="http://www.w3.org/2001/XMLSchema" xmlns:p="http://schemas.microsoft.com/office/2006/metadata/properties" xmlns:ns2="67a593e1-5ef2-4229-8314-3b3fbeeda55a" xmlns:ns3="cbb7c6bd-507d-4033-9261-afac356a73ee" targetNamespace="http://schemas.microsoft.com/office/2006/metadata/properties" ma:root="true" ma:fieldsID="dc14fb7809bdcd95236bead2f49b5b81" ns2:_="" ns3:_="">
    <xsd:import namespace="67a593e1-5ef2-4229-8314-3b3fbeeda55a"/>
    <xsd:import namespace="cbb7c6bd-507d-4033-9261-afac356a7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anu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7a593e1-5ef2-4229-8314-3b3fbeeda5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anus" ma:index="10" nillable="true" ma:displayName="Manus" ma:description="Dessa frågor kan användas i testet" ma:format="Dropdown" ma:internalName="Manus">
      <xsd:simpleType>
        <xsd:restriction base="dms:Note">
          <xsd:maxLength value="255"/>
        </xsd:restriction>
      </xsd:simpleType>
    </xsd:element>
    <xsd:element name="lcf76f155ced4ddcb4097134ff3c332f" ma:index="12" nillable="true" ma:taxonomy="true" ma:internalName="lcf76f155ced4ddcb4097134ff3c332f" ma:taxonomyFieldName="MediaServiceImageTags" ma:displayName="Billedmærker" ma:readOnly="false" ma:fieldId="{5cf76f15-5ced-4ddc-b409-7134ff3c332f}" ma:taxonomyMulti="true" ma:sspId="511ca070-c001-464c-8047-b402787012b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7c6bd-507d-4033-9261-afac356a73ee" elementFormDefault="qualified">
    <xsd:import namespace="http://schemas.microsoft.com/office/2006/documentManagement/types"/>
    <xsd:import namespace="http://schemas.microsoft.com/office/infopath/2007/PartnerControls"/>
    <xsd:element name="TaxCatchAll" ma:index="13" nillable="true" ma:displayName="Taxonomy Catch All Column" ma:hidden="true" ma:list="{2b6dca2a-a5f4-4f2b-81f1-874fa9fdea48}" ma:internalName="TaxCatchAll" ma:showField="CatchAllData" ma:web="cbb7c6bd-507d-4033-9261-afac356a7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67a593e1-5ef2-4229-8314-3b3fbeeda55a">
      <Terms xmlns="http://schemas.microsoft.com/office/infopath/2007/PartnerControls"/>
    </lcf76f155ced4ddcb4097134ff3c332f>
    <TaxCatchAll xmlns="cbb7c6bd-507d-4033-9261-afac356a73ee" xsi:nil="true"/>
    <Manus xmlns="67a593e1-5ef2-4229-8314-3b3fbeeda55a" xsi:nil="true"/>
  </documentManagement>
</p:properties>
</file>

<file path=customXml/itemProps1.xml><?xml version="1.0" encoding="utf-8"?>
<ds:datastoreItem xmlns:ds="http://schemas.openxmlformats.org/officeDocument/2006/customXml" ds:itemID="{6AA924D8-0634-42B6-AC97-48A7ACA60AB0}"/>
</file>

<file path=customXml/itemProps2.xml><?xml version="1.0" encoding="utf-8"?>
<ds:datastoreItem xmlns:ds="http://schemas.openxmlformats.org/officeDocument/2006/customXml" ds:itemID="{B3D7534D-8D43-48D7-8C07-E12DD495DE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BA7DA2A-BD51-4915-BE60-61B1B4B5D564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4</TotalTime>
  <Words>19</Words>
  <Application>Microsoft Office PowerPoint</Application>
  <PresentationFormat>A4-papir (210 x 297 mm)</PresentationFormat>
  <Paragraphs>9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Corbel</vt:lpstr>
      <vt:lpstr>Office Theme</vt:lpstr>
      <vt:lpstr>think-cell Slide</vt:lpstr>
      <vt:lpstr>Case-fortæll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 Modin</dc:creator>
  <cp:lastModifiedBy>Ida-Lina Nyholm</cp:lastModifiedBy>
  <cp:revision>4</cp:revision>
  <dcterms:created xsi:type="dcterms:W3CDTF">2022-03-30T06:00:14Z</dcterms:created>
  <dcterms:modified xsi:type="dcterms:W3CDTF">2023-03-28T07:35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9A27C8BC4FF814B80B4CE83598355D9</vt:lpwstr>
  </property>
</Properties>
</file>